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270" autoAdjust="0"/>
    <p:restoredTop sz="94660"/>
  </p:normalViewPr>
  <p:slideViewPr>
    <p:cSldViewPr snapToGrid="0">
      <p:cViewPr varScale="1">
        <p:scale>
          <a:sx n="113" d="100"/>
          <a:sy n="113" d="100"/>
        </p:scale>
        <p:origin x="138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49</c:f>
              <c:numCache>
                <c:formatCode>m/d/yyyy</c:formatCode>
                <c:ptCount val="24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</c:numCache>
            </c:numRef>
          </c:cat>
          <c:val>
            <c:numRef>
              <c:f>Sheet1!$D$2:$D$249</c:f>
              <c:numCache>
                <c:formatCode>#,##0</c:formatCode>
                <c:ptCount val="248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9</c:v>
                </c:pt>
                <c:pt idx="61">
                  <c:v>574</c:v>
                </c:pt>
                <c:pt idx="62">
                  <c:v>602</c:v>
                </c:pt>
                <c:pt idx="63">
                  <c:v>624</c:v>
                </c:pt>
                <c:pt idx="64">
                  <c:v>603</c:v>
                </c:pt>
                <c:pt idx="65">
                  <c:v>594</c:v>
                </c:pt>
                <c:pt idx="66">
                  <c:v>602</c:v>
                </c:pt>
                <c:pt idx="67">
                  <c:v>583</c:v>
                </c:pt>
                <c:pt idx="68">
                  <c:v>583</c:v>
                </c:pt>
                <c:pt idx="69">
                  <c:v>609</c:v>
                </c:pt>
                <c:pt idx="70">
                  <c:v>604</c:v>
                </c:pt>
                <c:pt idx="71">
                  <c:v>581</c:v>
                </c:pt>
                <c:pt idx="72">
                  <c:v>557</c:v>
                </c:pt>
                <c:pt idx="73">
                  <c:v>545</c:v>
                </c:pt>
                <c:pt idx="74">
                  <c:v>526</c:v>
                </c:pt>
                <c:pt idx="75">
                  <c:v>516</c:v>
                </c:pt>
                <c:pt idx="76">
                  <c:v>502</c:v>
                </c:pt>
                <c:pt idx="77">
                  <c:v>470</c:v>
                </c:pt>
                <c:pt idx="78">
                  <c:v>471</c:v>
                </c:pt>
                <c:pt idx="79">
                  <c:v>465</c:v>
                </c:pt>
                <c:pt idx="80">
                  <c:v>445</c:v>
                </c:pt>
                <c:pt idx="81">
                  <c:v>450</c:v>
                </c:pt>
                <c:pt idx="82">
                  <c:v>447</c:v>
                </c:pt>
                <c:pt idx="83">
                  <c:v>437</c:v>
                </c:pt>
                <c:pt idx="84">
                  <c:v>405</c:v>
                </c:pt>
                <c:pt idx="85">
                  <c:v>389</c:v>
                </c:pt>
                <c:pt idx="86">
                  <c:v>394</c:v>
                </c:pt>
                <c:pt idx="87">
                  <c:v>367</c:v>
                </c:pt>
                <c:pt idx="88">
                  <c:v>356</c:v>
                </c:pt>
                <c:pt idx="89">
                  <c:v>339</c:v>
                </c:pt>
                <c:pt idx="90">
                  <c:v>347</c:v>
                </c:pt>
                <c:pt idx="91">
                  <c:v>319</c:v>
                </c:pt>
                <c:pt idx="92">
                  <c:v>305</c:v>
                </c:pt>
                <c:pt idx="93">
                  <c:v>293</c:v>
                </c:pt>
                <c:pt idx="94">
                  <c:v>291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8</c:v>
                </c:pt>
                <c:pt idx="101">
                  <c:v>308</c:v>
                </c:pt>
                <c:pt idx="102">
                  <c:v>304</c:v>
                </c:pt>
                <c:pt idx="103">
                  <c:v>302</c:v>
                </c:pt>
                <c:pt idx="104">
                  <c:v>312</c:v>
                </c:pt>
                <c:pt idx="105">
                  <c:v>308</c:v>
                </c:pt>
                <c:pt idx="106">
                  <c:v>312</c:v>
                </c:pt>
                <c:pt idx="107">
                  <c:v>302</c:v>
                </c:pt>
                <c:pt idx="108">
                  <c:v>312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4</c:v>
                </c:pt>
                <c:pt idx="123">
                  <c:v>455</c:v>
                </c:pt>
                <c:pt idx="124">
                  <c:v>474</c:v>
                </c:pt>
                <c:pt idx="125">
                  <c:v>511</c:v>
                </c:pt>
                <c:pt idx="126">
                  <c:v>534</c:v>
                </c:pt>
                <c:pt idx="127">
                  <c:v>553</c:v>
                </c:pt>
                <c:pt idx="128">
                  <c:v>564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7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1</c:v>
                </c:pt>
                <c:pt idx="152">
                  <c:v>528</c:v>
                </c:pt>
                <c:pt idx="153">
                  <c:v>546</c:v>
                </c:pt>
                <c:pt idx="154">
                  <c:v>530</c:v>
                </c:pt>
                <c:pt idx="155">
                  <c:v>530</c:v>
                </c:pt>
                <c:pt idx="156">
                  <c:v>547</c:v>
                </c:pt>
                <c:pt idx="157">
                  <c:v>540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5</c:v>
                </c:pt>
                <c:pt idx="165">
                  <c:v>560</c:v>
                </c:pt>
                <c:pt idx="166">
                  <c:v>579</c:v>
                </c:pt>
                <c:pt idx="167">
                  <c:v>569</c:v>
                </c:pt>
                <c:pt idx="168">
                  <c:v>593</c:v>
                </c:pt>
                <c:pt idx="169">
                  <c:v>607</c:v>
                </c:pt>
                <c:pt idx="170">
                  <c:v>617</c:v>
                </c:pt>
                <c:pt idx="171">
                  <c:v>636</c:v>
                </c:pt>
                <c:pt idx="172">
                  <c:v>657</c:v>
                </c:pt>
                <c:pt idx="173">
                  <c:v>665</c:v>
                </c:pt>
                <c:pt idx="174">
                  <c:v>682</c:v>
                </c:pt>
                <c:pt idx="175">
                  <c:v>696</c:v>
                </c:pt>
                <c:pt idx="176">
                  <c:v>683</c:v>
                </c:pt>
                <c:pt idx="177">
                  <c:v>730</c:v>
                </c:pt>
                <c:pt idx="178">
                  <c:v>722</c:v>
                </c:pt>
                <c:pt idx="179">
                  <c:v>715</c:v>
                </c:pt>
                <c:pt idx="180">
                  <c:v>741</c:v>
                </c:pt>
                <c:pt idx="181">
                  <c:v>782</c:v>
                </c:pt>
                <c:pt idx="182">
                  <c:v>800</c:v>
                </c:pt>
                <c:pt idx="183">
                  <c:v>806</c:v>
                </c:pt>
                <c:pt idx="184">
                  <c:v>827</c:v>
                </c:pt>
                <c:pt idx="185">
                  <c:v>842</c:v>
                </c:pt>
                <c:pt idx="186">
                  <c:v>852</c:v>
                </c:pt>
                <c:pt idx="187">
                  <c:v>871</c:v>
                </c:pt>
                <c:pt idx="188">
                  <c:v>920</c:v>
                </c:pt>
                <c:pt idx="189">
                  <c:v>909</c:v>
                </c:pt>
                <c:pt idx="190">
                  <c:v>916</c:v>
                </c:pt>
                <c:pt idx="191">
                  <c:v>918</c:v>
                </c:pt>
                <c:pt idx="192">
                  <c:v>928</c:v>
                </c:pt>
                <c:pt idx="193">
                  <c:v>912</c:v>
                </c:pt>
                <c:pt idx="194">
                  <c:v>938</c:v>
                </c:pt>
                <c:pt idx="195">
                  <c:v>943</c:v>
                </c:pt>
                <c:pt idx="196">
                  <c:v>928</c:v>
                </c:pt>
                <c:pt idx="197">
                  <c:v>926</c:v>
                </c:pt>
                <c:pt idx="198">
                  <c:v>952</c:v>
                </c:pt>
                <c:pt idx="199">
                  <c:v>943</c:v>
                </c:pt>
                <c:pt idx="200">
                  <c:v>937</c:v>
                </c:pt>
                <c:pt idx="201">
                  <c:v>932</c:v>
                </c:pt>
                <c:pt idx="202">
                  <c:v>971</c:v>
                </c:pt>
                <c:pt idx="203">
                  <c:v>930</c:v>
                </c:pt>
                <c:pt idx="204">
                  <c:v>922</c:v>
                </c:pt>
                <c:pt idx="207">
                  <c:v>877</c:v>
                </c:pt>
                <c:pt idx="208">
                  <c:v>861</c:v>
                </c:pt>
                <c:pt idx="209">
                  <c:v>865</c:v>
                </c:pt>
                <c:pt idx="210">
                  <c:v>839</c:v>
                </c:pt>
                <c:pt idx="211">
                  <c:v>811</c:v>
                </c:pt>
                <c:pt idx="212">
                  <c:v>788</c:v>
                </c:pt>
                <c:pt idx="213">
                  <c:v>761</c:v>
                </c:pt>
                <c:pt idx="214">
                  <c:v>724</c:v>
                </c:pt>
                <c:pt idx="215">
                  <c:v>713</c:v>
                </c:pt>
                <c:pt idx="216">
                  <c:v>709</c:v>
                </c:pt>
                <c:pt idx="217">
                  <c:v>730</c:v>
                </c:pt>
                <c:pt idx="218">
                  <c:v>705</c:v>
                </c:pt>
                <c:pt idx="219">
                  <c:v>671</c:v>
                </c:pt>
                <c:pt idx="220">
                  <c:v>628</c:v>
                </c:pt>
                <c:pt idx="221">
                  <c:v>605</c:v>
                </c:pt>
                <c:pt idx="222">
                  <c:v>606</c:v>
                </c:pt>
                <c:pt idx="223">
                  <c:v>597</c:v>
                </c:pt>
                <c:pt idx="224">
                  <c:v>574</c:v>
                </c:pt>
                <c:pt idx="225">
                  <c:v>541</c:v>
                </c:pt>
                <c:pt idx="226">
                  <c:v>524</c:v>
                </c:pt>
                <c:pt idx="227">
                  <c:v>518</c:v>
                </c:pt>
                <c:pt idx="228">
                  <c:v>491</c:v>
                </c:pt>
                <c:pt idx="229">
                  <c:v>496</c:v>
                </c:pt>
                <c:pt idx="230">
                  <c:v>493</c:v>
                </c:pt>
                <c:pt idx="231">
                  <c:v>477</c:v>
                </c:pt>
                <c:pt idx="232">
                  <c:v>466</c:v>
                </c:pt>
                <c:pt idx="233">
                  <c:v>418</c:v>
                </c:pt>
                <c:pt idx="234">
                  <c:v>401</c:v>
                </c:pt>
                <c:pt idx="235">
                  <c:v>377</c:v>
                </c:pt>
                <c:pt idx="236">
                  <c:v>371</c:v>
                </c:pt>
                <c:pt idx="237">
                  <c:v>361</c:v>
                </c:pt>
                <c:pt idx="238">
                  <c:v>358</c:v>
                </c:pt>
                <c:pt idx="239">
                  <c:v>333</c:v>
                </c:pt>
                <c:pt idx="240">
                  <c:v>303</c:v>
                </c:pt>
                <c:pt idx="241">
                  <c:v>277</c:v>
                </c:pt>
                <c:pt idx="242">
                  <c:v>263</c:v>
                </c:pt>
                <c:pt idx="243" formatCode="General">
                  <c:v>269</c:v>
                </c:pt>
                <c:pt idx="244" formatCode="General">
                  <c:v>266</c:v>
                </c:pt>
                <c:pt idx="245" formatCode="General">
                  <c:v>252</c:v>
                </c:pt>
                <c:pt idx="246" formatCode="General">
                  <c:v>234</c:v>
                </c:pt>
                <c:pt idx="247" formatCode="General">
                  <c:v>2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42"/>
              <c:tx>
                <c:rich>
                  <a:bodyPr/>
                  <a:lstStyle/>
                  <a:p>
                    <a:r>
                      <a:rPr lang="en-US" dirty="0"/>
                      <a:t>645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C11D-4C2F-96AD-66CF0CE2ACC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49</c:f>
              <c:numCache>
                <c:formatCode>m/d/yyyy</c:formatCode>
                <c:ptCount val="24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</c:numCache>
            </c:numRef>
          </c:cat>
          <c:val>
            <c:numRef>
              <c:f>Sheet1!$B$2:$B$249</c:f>
              <c:numCache>
                <c:formatCode>#,##0</c:formatCode>
                <c:ptCount val="248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>
                  <c:v>528</c:v>
                </c:pt>
                <c:pt idx="230">
                  <c:v>552</c:v>
                </c:pt>
                <c:pt idx="231">
                  <c:v>593</c:v>
                </c:pt>
                <c:pt idx="232">
                  <c:v>554</c:v>
                </c:pt>
                <c:pt idx="233">
                  <c:v>595</c:v>
                </c:pt>
                <c:pt idx="234">
                  <c:v>613</c:v>
                </c:pt>
                <c:pt idx="235">
                  <c:v>618</c:v>
                </c:pt>
                <c:pt idx="236">
                  <c:v>617</c:v>
                </c:pt>
                <c:pt idx="237">
                  <c:v>605</c:v>
                </c:pt>
                <c:pt idx="238">
                  <c:v>586</c:v>
                </c:pt>
                <c:pt idx="239">
                  <c:v>613</c:v>
                </c:pt>
                <c:pt idx="240">
                  <c:v>620</c:v>
                </c:pt>
                <c:pt idx="241">
                  <c:v>632</c:v>
                </c:pt>
                <c:pt idx="242">
                  <c:v>652</c:v>
                </c:pt>
                <c:pt idx="243" formatCode="General">
                  <c:v>657</c:v>
                </c:pt>
                <c:pt idx="244" formatCode="General">
                  <c:v>642</c:v>
                </c:pt>
                <c:pt idx="245" formatCode="General">
                  <c:v>617</c:v>
                </c:pt>
                <c:pt idx="246" formatCode="General">
                  <c:v>625</c:v>
                </c:pt>
                <c:pt idx="247" formatCode="General">
                  <c:v>6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49</c:f>
              <c:numCache>
                <c:formatCode>m/d/yyyy</c:formatCode>
                <c:ptCount val="24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</c:numCache>
            </c:numRef>
          </c:cat>
          <c:val>
            <c:numRef>
              <c:f>Sheet1!$C$2:$C$249</c:f>
              <c:numCache>
                <c:formatCode>#,##0</c:formatCode>
                <c:ptCount val="24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49</c:f>
              <c:numCache>
                <c:formatCode>m/d/yyyy</c:formatCode>
                <c:ptCount val="24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</c:numCache>
            </c:numRef>
          </c:cat>
          <c:val>
            <c:numRef>
              <c:f>Sheet1!$D$2:$D$249</c:f>
              <c:numCache>
                <c:formatCode>#,##0</c:formatCode>
                <c:ptCount val="248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5</c:v>
                </c:pt>
                <c:pt idx="43">
                  <c:v>1321</c:v>
                </c:pt>
                <c:pt idx="44">
                  <c:v>1501</c:v>
                </c:pt>
                <c:pt idx="45">
                  <c:v>1605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7</c:v>
                </c:pt>
                <c:pt idx="52">
                  <c:v>2379</c:v>
                </c:pt>
                <c:pt idx="53">
                  <c:v>2494</c:v>
                </c:pt>
                <c:pt idx="54">
                  <c:v>2631</c:v>
                </c:pt>
                <c:pt idx="55">
                  <c:v>2836</c:v>
                </c:pt>
                <c:pt idx="56">
                  <c:v>2972</c:v>
                </c:pt>
                <c:pt idx="57">
                  <c:v>3035</c:v>
                </c:pt>
                <c:pt idx="58">
                  <c:v>3251</c:v>
                </c:pt>
                <c:pt idx="59">
                  <c:v>3298</c:v>
                </c:pt>
                <c:pt idx="60">
                  <c:v>3360</c:v>
                </c:pt>
                <c:pt idx="61">
                  <c:v>3443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5</c:v>
                </c:pt>
                <c:pt idx="66">
                  <c:v>3424</c:v>
                </c:pt>
                <c:pt idx="67">
                  <c:v>3350</c:v>
                </c:pt>
                <c:pt idx="68">
                  <c:v>3354</c:v>
                </c:pt>
                <c:pt idx="69">
                  <c:v>3290</c:v>
                </c:pt>
                <c:pt idx="70">
                  <c:v>3195</c:v>
                </c:pt>
                <c:pt idx="71">
                  <c:v>2967</c:v>
                </c:pt>
                <c:pt idx="72">
                  <c:v>2890</c:v>
                </c:pt>
                <c:pt idx="73">
                  <c:v>2750</c:v>
                </c:pt>
                <c:pt idx="74">
                  <c:v>2630</c:v>
                </c:pt>
                <c:pt idx="75">
                  <c:v>2555</c:v>
                </c:pt>
                <c:pt idx="76">
                  <c:v>2561</c:v>
                </c:pt>
                <c:pt idx="77">
                  <c:v>2486</c:v>
                </c:pt>
                <c:pt idx="78">
                  <c:v>2443</c:v>
                </c:pt>
                <c:pt idx="79">
                  <c:v>2364</c:v>
                </c:pt>
                <c:pt idx="80">
                  <c:v>2267</c:v>
                </c:pt>
                <c:pt idx="81">
                  <c:v>2144</c:v>
                </c:pt>
                <c:pt idx="82">
                  <c:v>2129</c:v>
                </c:pt>
                <c:pt idx="83">
                  <c:v>2158</c:v>
                </c:pt>
                <c:pt idx="84">
                  <c:v>2097</c:v>
                </c:pt>
                <c:pt idx="85">
                  <c:v>2023</c:v>
                </c:pt>
                <c:pt idx="86">
                  <c:v>1933</c:v>
                </c:pt>
                <c:pt idx="87">
                  <c:v>1809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5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2</c:v>
                </c:pt>
                <c:pt idx="117">
                  <c:v>1988</c:v>
                </c:pt>
                <c:pt idx="118">
                  <c:v>2297</c:v>
                </c:pt>
                <c:pt idx="119">
                  <c:v>2357</c:v>
                </c:pt>
                <c:pt idx="120">
                  <c:v>2480</c:v>
                </c:pt>
                <c:pt idx="121">
                  <c:v>2501</c:v>
                </c:pt>
                <c:pt idx="122">
                  <c:v>2500</c:v>
                </c:pt>
                <c:pt idx="123">
                  <c:v>2685</c:v>
                </c:pt>
                <c:pt idx="124">
                  <c:v>2801</c:v>
                </c:pt>
                <c:pt idx="125">
                  <c:v>3024</c:v>
                </c:pt>
                <c:pt idx="126">
                  <c:v>3051</c:v>
                </c:pt>
                <c:pt idx="127">
                  <c:v>3084</c:v>
                </c:pt>
                <c:pt idx="128">
                  <c:v>3077</c:v>
                </c:pt>
                <c:pt idx="129">
                  <c:v>2935</c:v>
                </c:pt>
                <c:pt idx="130">
                  <c:v>2966</c:v>
                </c:pt>
                <c:pt idx="131">
                  <c:v>2973</c:v>
                </c:pt>
                <c:pt idx="132">
                  <c:v>2976</c:v>
                </c:pt>
                <c:pt idx="133">
                  <c:v>3044</c:v>
                </c:pt>
                <c:pt idx="134">
                  <c:v>2965</c:v>
                </c:pt>
                <c:pt idx="135">
                  <c:v>2924</c:v>
                </c:pt>
                <c:pt idx="136">
                  <c:v>2872</c:v>
                </c:pt>
                <c:pt idx="137">
                  <c:v>2757</c:v>
                </c:pt>
                <c:pt idx="138">
                  <c:v>2745</c:v>
                </c:pt>
                <c:pt idx="139">
                  <c:v>2703</c:v>
                </c:pt>
                <c:pt idx="140">
                  <c:v>2640</c:v>
                </c:pt>
                <c:pt idx="141">
                  <c:v>2595</c:v>
                </c:pt>
                <c:pt idx="142">
                  <c:v>2590</c:v>
                </c:pt>
                <c:pt idx="143">
                  <c:v>2555</c:v>
                </c:pt>
                <c:pt idx="144">
                  <c:v>2521</c:v>
                </c:pt>
                <c:pt idx="145">
                  <c:v>2522</c:v>
                </c:pt>
                <c:pt idx="146">
                  <c:v>2545</c:v>
                </c:pt>
                <c:pt idx="147">
                  <c:v>2526</c:v>
                </c:pt>
                <c:pt idx="148">
                  <c:v>2418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7</c:v>
                </c:pt>
                <c:pt idx="158">
                  <c:v>2344</c:v>
                </c:pt>
                <c:pt idx="159">
                  <c:v>2409</c:v>
                </c:pt>
                <c:pt idx="160">
                  <c:v>2472</c:v>
                </c:pt>
                <c:pt idx="161">
                  <c:v>2489</c:v>
                </c:pt>
                <c:pt idx="162">
                  <c:v>2419</c:v>
                </c:pt>
                <c:pt idx="163">
                  <c:v>2453</c:v>
                </c:pt>
                <c:pt idx="164">
                  <c:v>2404</c:v>
                </c:pt>
                <c:pt idx="165">
                  <c:v>2470</c:v>
                </c:pt>
                <c:pt idx="166">
                  <c:v>2588</c:v>
                </c:pt>
                <c:pt idx="167">
                  <c:v>2620</c:v>
                </c:pt>
                <c:pt idx="168">
                  <c:v>2651</c:v>
                </c:pt>
                <c:pt idx="169">
                  <c:v>2715</c:v>
                </c:pt>
                <c:pt idx="170">
                  <c:v>2756</c:v>
                </c:pt>
                <c:pt idx="171">
                  <c:v>2677</c:v>
                </c:pt>
                <c:pt idx="172">
                  <c:v>2684</c:v>
                </c:pt>
                <c:pt idx="173">
                  <c:v>2806</c:v>
                </c:pt>
                <c:pt idx="174">
                  <c:v>3000</c:v>
                </c:pt>
                <c:pt idx="175">
                  <c:v>3019</c:v>
                </c:pt>
                <c:pt idx="176">
                  <c:v>3030</c:v>
                </c:pt>
                <c:pt idx="177">
                  <c:v>3041</c:v>
                </c:pt>
                <c:pt idx="178">
                  <c:v>3127</c:v>
                </c:pt>
                <c:pt idx="179">
                  <c:v>3233</c:v>
                </c:pt>
                <c:pt idx="180">
                  <c:v>3371</c:v>
                </c:pt>
                <c:pt idx="181">
                  <c:v>3575</c:v>
                </c:pt>
                <c:pt idx="182">
                  <c:v>3620</c:v>
                </c:pt>
                <c:pt idx="183">
                  <c:v>3596</c:v>
                </c:pt>
                <c:pt idx="184">
                  <c:v>3680</c:v>
                </c:pt>
                <c:pt idx="185">
                  <c:v>3707</c:v>
                </c:pt>
                <c:pt idx="186">
                  <c:v>3787</c:v>
                </c:pt>
                <c:pt idx="187">
                  <c:v>3875</c:v>
                </c:pt>
                <c:pt idx="188">
                  <c:v>3927</c:v>
                </c:pt>
                <c:pt idx="189">
                  <c:v>3943</c:v>
                </c:pt>
                <c:pt idx="190">
                  <c:v>3956</c:v>
                </c:pt>
                <c:pt idx="191">
                  <c:v>3926</c:v>
                </c:pt>
                <c:pt idx="192">
                  <c:v>3862</c:v>
                </c:pt>
                <c:pt idx="193">
                  <c:v>3973</c:v>
                </c:pt>
                <c:pt idx="194">
                  <c:v>4042</c:v>
                </c:pt>
                <c:pt idx="195">
                  <c:v>4188</c:v>
                </c:pt>
                <c:pt idx="196">
                  <c:v>4103</c:v>
                </c:pt>
                <c:pt idx="197">
                  <c:v>4025</c:v>
                </c:pt>
                <c:pt idx="198">
                  <c:v>3996</c:v>
                </c:pt>
                <c:pt idx="199">
                  <c:v>3793</c:v>
                </c:pt>
                <c:pt idx="200">
                  <c:v>3719</c:v>
                </c:pt>
                <c:pt idx="201">
                  <c:v>3796</c:v>
                </c:pt>
                <c:pt idx="202">
                  <c:v>3813</c:v>
                </c:pt>
                <c:pt idx="203">
                  <c:v>3683</c:v>
                </c:pt>
                <c:pt idx="204">
                  <c:v>3539</c:v>
                </c:pt>
                <c:pt idx="207">
                  <c:v>3355</c:v>
                </c:pt>
                <c:pt idx="208">
                  <c:v>3385</c:v>
                </c:pt>
                <c:pt idx="209">
                  <c:v>3357</c:v>
                </c:pt>
                <c:pt idx="210">
                  <c:v>3284</c:v>
                </c:pt>
                <c:pt idx="211">
                  <c:v>3148</c:v>
                </c:pt>
                <c:pt idx="212">
                  <c:v>2999</c:v>
                </c:pt>
                <c:pt idx="213">
                  <c:v>2814</c:v>
                </c:pt>
                <c:pt idx="214">
                  <c:v>2771</c:v>
                </c:pt>
                <c:pt idx="215">
                  <c:v>2831</c:v>
                </c:pt>
                <c:pt idx="216">
                  <c:v>2844</c:v>
                </c:pt>
                <c:pt idx="217">
                  <c:v>3043</c:v>
                </c:pt>
                <c:pt idx="218">
                  <c:v>2867</c:v>
                </c:pt>
                <c:pt idx="219">
                  <c:v>2688</c:v>
                </c:pt>
                <c:pt idx="220">
                  <c:v>2417</c:v>
                </c:pt>
                <c:pt idx="221">
                  <c:v>2322</c:v>
                </c:pt>
                <c:pt idx="222">
                  <c:v>2337</c:v>
                </c:pt>
                <c:pt idx="223">
                  <c:v>2332</c:v>
                </c:pt>
                <c:pt idx="224">
                  <c:v>2238</c:v>
                </c:pt>
                <c:pt idx="225">
                  <c:v>2108</c:v>
                </c:pt>
                <c:pt idx="226">
                  <c:v>1931</c:v>
                </c:pt>
                <c:pt idx="227">
                  <c:v>1785</c:v>
                </c:pt>
                <c:pt idx="228">
                  <c:v>1749</c:v>
                </c:pt>
                <c:pt idx="229">
                  <c:v>1756</c:v>
                </c:pt>
                <c:pt idx="230">
                  <c:v>1811</c:v>
                </c:pt>
                <c:pt idx="231">
                  <c:v>1708</c:v>
                </c:pt>
                <c:pt idx="232">
                  <c:v>1614</c:v>
                </c:pt>
                <c:pt idx="233">
                  <c:v>1528</c:v>
                </c:pt>
                <c:pt idx="234">
                  <c:v>1426</c:v>
                </c:pt>
                <c:pt idx="235">
                  <c:v>1358</c:v>
                </c:pt>
                <c:pt idx="236">
                  <c:v>1357</c:v>
                </c:pt>
                <c:pt idx="237">
                  <c:v>1307</c:v>
                </c:pt>
                <c:pt idx="238">
                  <c:v>1283</c:v>
                </c:pt>
                <c:pt idx="239">
                  <c:v>1243</c:v>
                </c:pt>
                <c:pt idx="240">
                  <c:v>1189</c:v>
                </c:pt>
                <c:pt idx="241">
                  <c:v>1142</c:v>
                </c:pt>
                <c:pt idx="242">
                  <c:v>1148</c:v>
                </c:pt>
                <c:pt idx="243">
                  <c:v>1139</c:v>
                </c:pt>
                <c:pt idx="244">
                  <c:v>1135</c:v>
                </c:pt>
                <c:pt idx="245">
                  <c:v>1062</c:v>
                </c:pt>
                <c:pt idx="246">
                  <c:v>1000</c:v>
                </c:pt>
                <c:pt idx="247" formatCode="General">
                  <c:v>9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35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0756781770201477E-2"/>
                      <c:h val="7.907895909266417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BF71-4F3F-B6D3-283E975E68D4}"/>
                </c:ext>
              </c:extLst>
            </c:dLbl>
            <c:dLbl>
              <c:idx val="242"/>
              <c:layout>
                <c:manualLayout>
                  <c:x val="0"/>
                  <c:y val="-5.3886854577624647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 208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BF71-4F3F-B6D3-283E975E68D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49</c:f>
              <c:numCache>
                <c:formatCode>m/d/yyyy</c:formatCode>
                <c:ptCount val="24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</c:numCache>
            </c:numRef>
          </c:cat>
          <c:val>
            <c:numRef>
              <c:f>Sheet1!$B$2:$B$249</c:f>
              <c:numCache>
                <c:formatCode>#,##0</c:formatCode>
                <c:ptCount val="248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  <c:pt idx="230">
                  <c:v>6537</c:v>
                </c:pt>
                <c:pt idx="231">
                  <c:v>6340</c:v>
                </c:pt>
                <c:pt idx="232">
                  <c:v>6185</c:v>
                </c:pt>
                <c:pt idx="233">
                  <c:v>6341</c:v>
                </c:pt>
                <c:pt idx="234">
                  <c:v>6541</c:v>
                </c:pt>
                <c:pt idx="235">
                  <c:v>6698</c:v>
                </c:pt>
                <c:pt idx="236">
                  <c:v>6777</c:v>
                </c:pt>
                <c:pt idx="237">
                  <c:v>6693</c:v>
                </c:pt>
                <c:pt idx="238">
                  <c:v>6438</c:v>
                </c:pt>
                <c:pt idx="239">
                  <c:v>6257</c:v>
                </c:pt>
                <c:pt idx="240">
                  <c:v>6287</c:v>
                </c:pt>
                <c:pt idx="241">
                  <c:v>6605</c:v>
                </c:pt>
                <c:pt idx="242">
                  <c:v>6762</c:v>
                </c:pt>
                <c:pt idx="243">
                  <c:v>6758</c:v>
                </c:pt>
                <c:pt idx="244">
                  <c:v>6648</c:v>
                </c:pt>
                <c:pt idx="245">
                  <c:v>6485</c:v>
                </c:pt>
                <c:pt idx="246">
                  <c:v>6269</c:v>
                </c:pt>
                <c:pt idx="247">
                  <c:v>62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49</c:f>
              <c:numCache>
                <c:formatCode>m/d/yyyy</c:formatCode>
                <c:ptCount val="24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</c:numCache>
            </c:numRef>
          </c:cat>
          <c:val>
            <c:numRef>
              <c:f>Sheet1!$C$2:$C$249</c:f>
              <c:numCache>
                <c:formatCode>#,##0</c:formatCode>
                <c:ptCount val="24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49</c:f>
              <c:numCache>
                <c:formatCode>m/d/yyyy</c:formatCode>
                <c:ptCount val="24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</c:numCache>
            </c:numRef>
          </c:cat>
          <c:val>
            <c:numRef>
              <c:f>Sheet1!$D$2:$D$249</c:f>
              <c:numCache>
                <c:formatCode>#,##0</c:formatCode>
                <c:ptCount val="24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7</c:v>
                </c:pt>
                <c:pt idx="101">
                  <c:v>8</c:v>
                </c:pt>
                <c:pt idx="102">
                  <c:v>5</c:v>
                </c:pt>
                <c:pt idx="103">
                  <c:v>6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5</c:v>
                </c:pt>
                <c:pt idx="165">
                  <c:v>16</c:v>
                </c:pt>
                <c:pt idx="166">
                  <c:v>14</c:v>
                </c:pt>
                <c:pt idx="167">
                  <c:v>16</c:v>
                </c:pt>
                <c:pt idx="168">
                  <c:v>17</c:v>
                </c:pt>
                <c:pt idx="169">
                  <c:v>17</c:v>
                </c:pt>
                <c:pt idx="170">
                  <c:v>18</c:v>
                </c:pt>
                <c:pt idx="171">
                  <c:v>16</c:v>
                </c:pt>
                <c:pt idx="172">
                  <c:v>16</c:v>
                </c:pt>
                <c:pt idx="173">
                  <c:v>17</c:v>
                </c:pt>
                <c:pt idx="174">
                  <c:v>21</c:v>
                </c:pt>
                <c:pt idx="175">
                  <c:v>24</c:v>
                </c:pt>
                <c:pt idx="176">
                  <c:v>25</c:v>
                </c:pt>
                <c:pt idx="177">
                  <c:v>27</c:v>
                </c:pt>
                <c:pt idx="178">
                  <c:v>26</c:v>
                </c:pt>
                <c:pt idx="179">
                  <c:v>24</c:v>
                </c:pt>
                <c:pt idx="180">
                  <c:v>17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4</c:v>
                </c:pt>
                <c:pt idx="199">
                  <c:v>35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5</c:v>
                </c:pt>
                <c:pt idx="213">
                  <c:v>29</c:v>
                </c:pt>
                <c:pt idx="214">
                  <c:v>29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18</c:v>
                </c:pt>
                <c:pt idx="225">
                  <c:v>17</c:v>
                </c:pt>
                <c:pt idx="226">
                  <c:v>18</c:v>
                </c:pt>
                <c:pt idx="227">
                  <c:v>18</c:v>
                </c:pt>
                <c:pt idx="228">
                  <c:v>18</c:v>
                </c:pt>
                <c:pt idx="229">
                  <c:v>19</c:v>
                </c:pt>
                <c:pt idx="230">
                  <c:v>22</c:v>
                </c:pt>
                <c:pt idx="231">
                  <c:v>19</c:v>
                </c:pt>
                <c:pt idx="232">
                  <c:v>21</c:v>
                </c:pt>
                <c:pt idx="233">
                  <c:v>22</c:v>
                </c:pt>
                <c:pt idx="234">
                  <c:v>20</c:v>
                </c:pt>
                <c:pt idx="235">
                  <c:v>18</c:v>
                </c:pt>
                <c:pt idx="236">
                  <c:v>16</c:v>
                </c:pt>
                <c:pt idx="237">
                  <c:v>15</c:v>
                </c:pt>
                <c:pt idx="238">
                  <c:v>18</c:v>
                </c:pt>
                <c:pt idx="239">
                  <c:v>19</c:v>
                </c:pt>
                <c:pt idx="240">
                  <c:v>19</c:v>
                </c:pt>
                <c:pt idx="241">
                  <c:v>18</c:v>
                </c:pt>
                <c:pt idx="242">
                  <c:v>17</c:v>
                </c:pt>
                <c:pt idx="243" formatCode="General">
                  <c:v>18</c:v>
                </c:pt>
                <c:pt idx="244" formatCode="General">
                  <c:v>16</c:v>
                </c:pt>
                <c:pt idx="245" formatCode="General">
                  <c:v>18</c:v>
                </c:pt>
                <c:pt idx="246" formatCode="General">
                  <c:v>19</c:v>
                </c:pt>
                <c:pt idx="247" formatCode="General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42"/>
              <c:tx>
                <c:rich>
                  <a:bodyPr/>
                  <a:lstStyle/>
                  <a:p>
                    <a:r>
                      <a:rPr lang="en-US" dirty="0"/>
                      <a:t>50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BD66-4A3F-B3DF-E765AF4FAB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49</c:f>
              <c:numCache>
                <c:formatCode>m/d/yyyy</c:formatCode>
                <c:ptCount val="24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</c:numCache>
            </c:numRef>
          </c:cat>
          <c:val>
            <c:numRef>
              <c:f>Sheet1!$B$2:$B$249</c:f>
              <c:numCache>
                <c:formatCode>#,##0</c:formatCode>
                <c:ptCount val="248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>
                  <c:v>46</c:v>
                </c:pt>
                <c:pt idx="230">
                  <c:v>42</c:v>
                </c:pt>
                <c:pt idx="231">
                  <c:v>42</c:v>
                </c:pt>
                <c:pt idx="232">
                  <c:v>41</c:v>
                </c:pt>
                <c:pt idx="233">
                  <c:v>40</c:v>
                </c:pt>
                <c:pt idx="234">
                  <c:v>40</c:v>
                </c:pt>
                <c:pt idx="235">
                  <c:v>40</c:v>
                </c:pt>
                <c:pt idx="236">
                  <c:v>42</c:v>
                </c:pt>
                <c:pt idx="237">
                  <c:v>40</c:v>
                </c:pt>
                <c:pt idx="238">
                  <c:v>38</c:v>
                </c:pt>
                <c:pt idx="239">
                  <c:v>40</c:v>
                </c:pt>
                <c:pt idx="240">
                  <c:v>41</c:v>
                </c:pt>
                <c:pt idx="241">
                  <c:v>49</c:v>
                </c:pt>
                <c:pt idx="242">
                  <c:v>50</c:v>
                </c:pt>
                <c:pt idx="243" formatCode="General">
                  <c:v>49</c:v>
                </c:pt>
                <c:pt idx="244" formatCode="General">
                  <c:v>48</c:v>
                </c:pt>
                <c:pt idx="245" formatCode="General">
                  <c:v>51</c:v>
                </c:pt>
                <c:pt idx="246" formatCode="General">
                  <c:v>48</c:v>
                </c:pt>
                <c:pt idx="247" formatCode="General">
                  <c:v>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49</c:f>
              <c:numCache>
                <c:formatCode>m/d/yyyy</c:formatCode>
                <c:ptCount val="24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</c:numCache>
            </c:numRef>
          </c:cat>
          <c:val>
            <c:numRef>
              <c:f>Sheet1!$C$2:$C$249</c:f>
              <c:numCache>
                <c:formatCode>#,##0</c:formatCode>
                <c:ptCount val="24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01769606503E-2"/>
          <c:y val="3.4628599943211873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49</c:f>
              <c:numCache>
                <c:formatCode>m/d/yyyy</c:formatCode>
                <c:ptCount val="24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</c:numCache>
            </c:numRef>
          </c:cat>
          <c:val>
            <c:numRef>
              <c:f>Sheet1!$D$2:$D$249</c:f>
              <c:numCache>
                <c:formatCode>#,##0</c:formatCode>
                <c:ptCount val="248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2</c:v>
                </c:pt>
                <c:pt idx="43">
                  <c:v>478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8</c:v>
                </c:pt>
                <c:pt idx="60">
                  <c:v>1067</c:v>
                </c:pt>
                <c:pt idx="61">
                  <c:v>1115</c:v>
                </c:pt>
                <c:pt idx="62">
                  <c:v>1151</c:v>
                </c:pt>
                <c:pt idx="63">
                  <c:v>1176</c:v>
                </c:pt>
                <c:pt idx="64">
                  <c:v>1163</c:v>
                </c:pt>
                <c:pt idx="65">
                  <c:v>1173</c:v>
                </c:pt>
                <c:pt idx="66">
                  <c:v>1210</c:v>
                </c:pt>
                <c:pt idx="67">
                  <c:v>1155</c:v>
                </c:pt>
                <c:pt idx="68">
                  <c:v>1166</c:v>
                </c:pt>
                <c:pt idx="69">
                  <c:v>1180</c:v>
                </c:pt>
                <c:pt idx="70">
                  <c:v>1167</c:v>
                </c:pt>
                <c:pt idx="71">
                  <c:v>1108</c:v>
                </c:pt>
                <c:pt idx="72">
                  <c:v>1104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8</c:v>
                </c:pt>
                <c:pt idx="83">
                  <c:v>948</c:v>
                </c:pt>
                <c:pt idx="84">
                  <c:v>877</c:v>
                </c:pt>
                <c:pt idx="85">
                  <c:v>853</c:v>
                </c:pt>
                <c:pt idx="86">
                  <c:v>840</c:v>
                </c:pt>
                <c:pt idx="87">
                  <c:v>795</c:v>
                </c:pt>
                <c:pt idx="88">
                  <c:v>776</c:v>
                </c:pt>
                <c:pt idx="89">
                  <c:v>761</c:v>
                </c:pt>
                <c:pt idx="90">
                  <c:v>786</c:v>
                </c:pt>
                <c:pt idx="91">
                  <c:v>728</c:v>
                </c:pt>
                <c:pt idx="92">
                  <c:v>712</c:v>
                </c:pt>
                <c:pt idx="93">
                  <c:v>714</c:v>
                </c:pt>
                <c:pt idx="94">
                  <c:v>710</c:v>
                </c:pt>
                <c:pt idx="95">
                  <c:v>685</c:v>
                </c:pt>
                <c:pt idx="96">
                  <c:v>672</c:v>
                </c:pt>
                <c:pt idx="97">
                  <c:v>710</c:v>
                </c:pt>
                <c:pt idx="98">
                  <c:v>698</c:v>
                </c:pt>
                <c:pt idx="99">
                  <c:v>684</c:v>
                </c:pt>
                <c:pt idx="100">
                  <c:v>709</c:v>
                </c:pt>
                <c:pt idx="101">
                  <c:v>697</c:v>
                </c:pt>
                <c:pt idx="102">
                  <c:v>693</c:v>
                </c:pt>
                <c:pt idx="103">
                  <c:v>707</c:v>
                </c:pt>
                <c:pt idx="104">
                  <c:v>725</c:v>
                </c:pt>
                <c:pt idx="105">
                  <c:v>722</c:v>
                </c:pt>
                <c:pt idx="106">
                  <c:v>734</c:v>
                </c:pt>
                <c:pt idx="107">
                  <c:v>723</c:v>
                </c:pt>
                <c:pt idx="108">
                  <c:v>726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8</c:v>
                </c:pt>
                <c:pt idx="123">
                  <c:v>958</c:v>
                </c:pt>
                <c:pt idx="124">
                  <c:v>1004</c:v>
                </c:pt>
                <c:pt idx="125">
                  <c:v>1090</c:v>
                </c:pt>
                <c:pt idx="126">
                  <c:v>1110</c:v>
                </c:pt>
                <c:pt idx="127">
                  <c:v>1149</c:v>
                </c:pt>
                <c:pt idx="128">
                  <c:v>1148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69</c:v>
                </c:pt>
                <c:pt idx="135">
                  <c:v>1178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7</c:v>
                </c:pt>
                <c:pt idx="151">
                  <c:v>1021</c:v>
                </c:pt>
                <c:pt idx="152">
                  <c:v>1039</c:v>
                </c:pt>
                <c:pt idx="153">
                  <c:v>1078</c:v>
                </c:pt>
                <c:pt idx="154">
                  <c:v>1089</c:v>
                </c:pt>
                <c:pt idx="155">
                  <c:v>1076</c:v>
                </c:pt>
                <c:pt idx="156">
                  <c:v>1102</c:v>
                </c:pt>
                <c:pt idx="157">
                  <c:v>1088</c:v>
                </c:pt>
                <c:pt idx="158">
                  <c:v>1072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1</c:v>
                </c:pt>
                <c:pt idx="165">
                  <c:v>1105</c:v>
                </c:pt>
                <c:pt idx="166">
                  <c:v>1146</c:v>
                </c:pt>
                <c:pt idx="167">
                  <c:v>1170</c:v>
                </c:pt>
                <c:pt idx="168">
                  <c:v>1213</c:v>
                </c:pt>
                <c:pt idx="169">
                  <c:v>1241</c:v>
                </c:pt>
                <c:pt idx="170">
                  <c:v>1266</c:v>
                </c:pt>
                <c:pt idx="171">
                  <c:v>1270</c:v>
                </c:pt>
                <c:pt idx="172">
                  <c:v>1269</c:v>
                </c:pt>
                <c:pt idx="173">
                  <c:v>1282</c:v>
                </c:pt>
                <c:pt idx="174">
                  <c:v>1362</c:v>
                </c:pt>
                <c:pt idx="175">
                  <c:v>1391</c:v>
                </c:pt>
                <c:pt idx="176">
                  <c:v>1410</c:v>
                </c:pt>
                <c:pt idx="177">
                  <c:v>1464</c:v>
                </c:pt>
                <c:pt idx="178">
                  <c:v>1439</c:v>
                </c:pt>
                <c:pt idx="179">
                  <c:v>1466</c:v>
                </c:pt>
                <c:pt idx="180">
                  <c:v>1503</c:v>
                </c:pt>
                <c:pt idx="181">
                  <c:v>1586</c:v>
                </c:pt>
                <c:pt idx="182">
                  <c:v>1598</c:v>
                </c:pt>
                <c:pt idx="183">
                  <c:v>1625</c:v>
                </c:pt>
                <c:pt idx="184">
                  <c:v>1651</c:v>
                </c:pt>
                <c:pt idx="185">
                  <c:v>1671</c:v>
                </c:pt>
                <c:pt idx="186">
                  <c:v>1675</c:v>
                </c:pt>
                <c:pt idx="187">
                  <c:v>1677</c:v>
                </c:pt>
                <c:pt idx="188">
                  <c:v>1773</c:v>
                </c:pt>
                <c:pt idx="189">
                  <c:v>1802</c:v>
                </c:pt>
                <c:pt idx="190">
                  <c:v>1831</c:v>
                </c:pt>
                <c:pt idx="191">
                  <c:v>1821</c:v>
                </c:pt>
                <c:pt idx="192">
                  <c:v>1833</c:v>
                </c:pt>
                <c:pt idx="193">
                  <c:v>1782</c:v>
                </c:pt>
                <c:pt idx="194">
                  <c:v>1829</c:v>
                </c:pt>
                <c:pt idx="195">
                  <c:v>1886</c:v>
                </c:pt>
                <c:pt idx="196">
                  <c:v>1893</c:v>
                </c:pt>
                <c:pt idx="197">
                  <c:v>1861</c:v>
                </c:pt>
                <c:pt idx="198">
                  <c:v>1859</c:v>
                </c:pt>
                <c:pt idx="199">
                  <c:v>1818</c:v>
                </c:pt>
                <c:pt idx="200">
                  <c:v>1778</c:v>
                </c:pt>
                <c:pt idx="201">
                  <c:v>1802</c:v>
                </c:pt>
                <c:pt idx="202">
                  <c:v>1822</c:v>
                </c:pt>
                <c:pt idx="203">
                  <c:v>1775</c:v>
                </c:pt>
                <c:pt idx="204">
                  <c:v>1743</c:v>
                </c:pt>
                <c:pt idx="207">
                  <c:v>1644</c:v>
                </c:pt>
                <c:pt idx="208">
                  <c:v>1653</c:v>
                </c:pt>
                <c:pt idx="209">
                  <c:v>1663</c:v>
                </c:pt>
                <c:pt idx="210">
                  <c:v>1613</c:v>
                </c:pt>
                <c:pt idx="211">
                  <c:v>1554</c:v>
                </c:pt>
                <c:pt idx="212">
                  <c:v>1505</c:v>
                </c:pt>
                <c:pt idx="213">
                  <c:v>1424</c:v>
                </c:pt>
                <c:pt idx="214">
                  <c:v>1399</c:v>
                </c:pt>
                <c:pt idx="215">
                  <c:v>1379</c:v>
                </c:pt>
                <c:pt idx="216">
                  <c:v>1345</c:v>
                </c:pt>
                <c:pt idx="217">
                  <c:v>1395</c:v>
                </c:pt>
                <c:pt idx="218">
                  <c:v>1363</c:v>
                </c:pt>
                <c:pt idx="219">
                  <c:v>1314</c:v>
                </c:pt>
                <c:pt idx="220">
                  <c:v>1236</c:v>
                </c:pt>
                <c:pt idx="221">
                  <c:v>1220</c:v>
                </c:pt>
                <c:pt idx="222">
                  <c:v>1203</c:v>
                </c:pt>
                <c:pt idx="223">
                  <c:v>1189</c:v>
                </c:pt>
                <c:pt idx="224">
                  <c:v>1160</c:v>
                </c:pt>
                <c:pt idx="225">
                  <c:v>1116</c:v>
                </c:pt>
                <c:pt idx="226">
                  <c:v>1037</c:v>
                </c:pt>
                <c:pt idx="227">
                  <c:v>1016</c:v>
                </c:pt>
                <c:pt idx="228">
                  <c:v>976</c:v>
                </c:pt>
                <c:pt idx="229">
                  <c:v>978</c:v>
                </c:pt>
                <c:pt idx="230">
                  <c:v>997</c:v>
                </c:pt>
                <c:pt idx="231">
                  <c:v>946</c:v>
                </c:pt>
                <c:pt idx="232">
                  <c:v>912</c:v>
                </c:pt>
                <c:pt idx="233">
                  <c:v>836</c:v>
                </c:pt>
                <c:pt idx="234">
                  <c:v>789</c:v>
                </c:pt>
                <c:pt idx="235">
                  <c:v>754</c:v>
                </c:pt>
                <c:pt idx="236">
                  <c:v>763</c:v>
                </c:pt>
                <c:pt idx="237">
                  <c:v>741</c:v>
                </c:pt>
                <c:pt idx="238">
                  <c:v>713</c:v>
                </c:pt>
                <c:pt idx="239">
                  <c:v>688</c:v>
                </c:pt>
                <c:pt idx="240">
                  <c:v>636</c:v>
                </c:pt>
                <c:pt idx="241">
                  <c:v>579</c:v>
                </c:pt>
                <c:pt idx="242">
                  <c:v>558</c:v>
                </c:pt>
                <c:pt idx="243" formatCode="General">
                  <c:v>563</c:v>
                </c:pt>
                <c:pt idx="244" formatCode="General">
                  <c:v>570</c:v>
                </c:pt>
                <c:pt idx="245" formatCode="General">
                  <c:v>547</c:v>
                </c:pt>
                <c:pt idx="246" formatCode="General">
                  <c:v>504</c:v>
                </c:pt>
                <c:pt idx="247" formatCode="General">
                  <c:v>4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86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4835-4E6D-B4DA-45D31FA05971}"/>
                </c:ext>
              </c:extLst>
            </c:dLbl>
            <c:dLbl>
              <c:idx val="207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4835-4E6D-B4DA-45D31FA05971}"/>
                </c:ext>
              </c:extLst>
            </c:dLbl>
            <c:dLbl>
              <c:idx val="242"/>
              <c:tx>
                <c:rich>
                  <a:bodyPr/>
                  <a:lstStyle/>
                  <a:p>
                    <a:r>
                      <a:rPr lang="en-US" dirty="0"/>
                      <a:t>1 574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4835-4E6D-B4DA-45D31FA059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49</c:f>
              <c:numCache>
                <c:formatCode>m/d/yyyy</c:formatCode>
                <c:ptCount val="24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</c:numCache>
            </c:numRef>
          </c:cat>
          <c:val>
            <c:numRef>
              <c:f>Sheet1!$B$2:$B$249</c:f>
              <c:numCache>
                <c:formatCode>#,##0</c:formatCode>
                <c:ptCount val="248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  <c:pt idx="230">
                  <c:v>1499</c:v>
                </c:pt>
                <c:pt idx="231">
                  <c:v>1531</c:v>
                </c:pt>
                <c:pt idx="232">
                  <c:v>1496</c:v>
                </c:pt>
                <c:pt idx="233">
                  <c:v>1513</c:v>
                </c:pt>
                <c:pt idx="234">
                  <c:v>1550</c:v>
                </c:pt>
                <c:pt idx="235">
                  <c:v>1557</c:v>
                </c:pt>
                <c:pt idx="236">
                  <c:v>1515</c:v>
                </c:pt>
                <c:pt idx="237">
                  <c:v>1494</c:v>
                </c:pt>
                <c:pt idx="238">
                  <c:v>1523</c:v>
                </c:pt>
                <c:pt idx="239">
                  <c:v>1559</c:v>
                </c:pt>
                <c:pt idx="240">
                  <c:v>1547</c:v>
                </c:pt>
                <c:pt idx="241">
                  <c:v>1565</c:v>
                </c:pt>
                <c:pt idx="242">
                  <c:v>1596</c:v>
                </c:pt>
                <c:pt idx="243">
                  <c:v>1613</c:v>
                </c:pt>
                <c:pt idx="244">
                  <c:v>1586</c:v>
                </c:pt>
                <c:pt idx="245">
                  <c:v>1557</c:v>
                </c:pt>
                <c:pt idx="246">
                  <c:v>1546</c:v>
                </c:pt>
                <c:pt idx="247">
                  <c:v>15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49</c:f>
              <c:numCache>
                <c:formatCode>m/d/yyyy</c:formatCode>
                <c:ptCount val="248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</c:numCache>
            </c:numRef>
          </c:cat>
          <c:val>
            <c:numRef>
              <c:f>Sheet1!$C$2:$C$249</c:f>
              <c:numCache>
                <c:formatCode>#,##0</c:formatCode>
                <c:ptCount val="24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07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7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7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chart" Target="../charts/chart4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chart" Target="../charts/chart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2.xml"/><Relationship Id="rId5" Type="http://schemas.openxmlformats.org/officeDocument/2006/relationships/tags" Target="../tags/tag7.xml"/><Relationship Id="rId10" Type="http://schemas.openxmlformats.org/officeDocument/2006/relationships/chart" Target="../charts/chart1.xml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r>
              <a:rPr lang="cs-CZ" sz="3600" b="1" i="1" dirty="0"/>
              <a:t>- aktualizace 07.05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500960388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931917959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484622050"/>
              </p:ext>
            </p:extLst>
          </p:nvPr>
        </p:nvGraphicFramePr>
        <p:xfrm>
          <a:off x="409660" y="3984266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651704787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7749216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4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2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2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0768218"/>
              </p:ext>
            </p:extLst>
          </p:nvPr>
        </p:nvGraphicFramePr>
        <p:xfrm>
          <a:off x="199580" y="1147680"/>
          <a:ext cx="11792839" cy="5326545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5577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142</TotalTime>
  <Words>1041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Pohlová Radka Mgr.</cp:lastModifiedBy>
  <cp:revision>654</cp:revision>
  <dcterms:created xsi:type="dcterms:W3CDTF">2020-08-08T14:25:07Z</dcterms:created>
  <dcterms:modified xsi:type="dcterms:W3CDTF">2021-05-07T03:45:01Z</dcterms:modified>
</cp:coreProperties>
</file>